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69" r:id="rId2"/>
  </p:sldIdLst>
  <p:sldSz cx="7556500" cy="10693400"/>
  <p:notesSz cx="6858000" cy="9144000"/>
  <p:embeddedFontLst>
    <p:embeddedFont>
      <p:font typeface="Gochi Hand" pitchFamily="2" charset="0"/>
      <p:regular r:id="rId3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EFC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991" autoAdjust="0"/>
    <p:restoredTop sz="94622" autoAdjust="0"/>
  </p:normalViewPr>
  <p:slideViewPr>
    <p:cSldViewPr>
      <p:cViewPr>
        <p:scale>
          <a:sx n="150" d="100"/>
          <a:sy n="150" d="100"/>
        </p:scale>
        <p:origin x="594" y="-267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font" Target="fonts/font1.fntdata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1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1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1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1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1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1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1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1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1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1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1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6/21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11" Type="http://schemas.openxmlformats.org/officeDocument/2006/relationships/image" Target="../media/image9.svg"/><Relationship Id="rId5" Type="http://schemas.openxmlformats.org/officeDocument/2006/relationships/image" Target="../media/image3.png"/><Relationship Id="rId10" Type="http://schemas.openxmlformats.org/officeDocument/2006/relationships/image" Target="../media/image8.png"/><Relationship Id="rId4" Type="http://schemas.openxmlformats.org/officeDocument/2006/relationships/image" Target="../media/image2.png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AB3B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Fall potluck #3">
            <a:extLst>
              <a:ext uri="{FF2B5EF4-FFF2-40B4-BE49-F238E27FC236}">
                <a16:creationId xmlns:a16="http://schemas.microsoft.com/office/drawing/2014/main" id="{CD6BDEFC-5491-B1B8-9A95-D58A221A7B58}"/>
              </a:ext>
            </a:extLst>
          </p:cNvPr>
          <p:cNvGrpSpPr/>
          <p:nvPr/>
        </p:nvGrpSpPr>
        <p:grpSpPr>
          <a:xfrm>
            <a:off x="-193770" y="71293"/>
            <a:ext cx="7947537" cy="10332465"/>
            <a:chOff x="-193770" y="71293"/>
            <a:chExt cx="7947537" cy="10332465"/>
          </a:xfrm>
        </p:grpSpPr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B5FDFB5A-8D80-9633-6041-77280004EE7E}"/>
                </a:ext>
              </a:extLst>
            </p:cNvPr>
            <p:cNvGrpSpPr/>
            <p:nvPr/>
          </p:nvGrpSpPr>
          <p:grpSpPr>
            <a:xfrm>
              <a:off x="-193770" y="71293"/>
              <a:ext cx="7947537" cy="3454581"/>
              <a:chOff x="-193770" y="71293"/>
              <a:chExt cx="7947537" cy="3454581"/>
            </a:xfrm>
          </p:grpSpPr>
          <p:sp>
            <p:nvSpPr>
              <p:cNvPr id="3" name="Freeform 3"/>
              <p:cNvSpPr/>
              <p:nvPr/>
            </p:nvSpPr>
            <p:spPr>
              <a:xfrm>
                <a:off x="286655" y="288242"/>
                <a:ext cx="6986690" cy="2650237"/>
              </a:xfrm>
              <a:prstGeom prst="roundRect">
                <a:avLst>
                  <a:gd name="adj" fmla="val 3010"/>
                </a:avLst>
              </a:prstGeom>
              <a:solidFill>
                <a:srgbClr val="FFFCF4"/>
              </a:solid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grpSp>
            <p:nvGrpSpPr>
              <p:cNvPr id="55" name="Group 54">
                <a:extLst>
                  <a:ext uri="{FF2B5EF4-FFF2-40B4-BE49-F238E27FC236}">
                    <a16:creationId xmlns:a16="http://schemas.microsoft.com/office/drawing/2014/main" id="{11A03067-8C82-76E6-9F55-6A37304D6F39}"/>
                  </a:ext>
                </a:extLst>
              </p:cNvPr>
              <p:cNvGrpSpPr/>
              <p:nvPr/>
            </p:nvGrpSpPr>
            <p:grpSpPr>
              <a:xfrm>
                <a:off x="867705" y="1626672"/>
                <a:ext cx="5824589" cy="1659237"/>
                <a:chOff x="867705" y="1626672"/>
                <a:chExt cx="5824589" cy="1659237"/>
              </a:xfrm>
            </p:grpSpPr>
            <p:sp>
              <p:nvSpPr>
                <p:cNvPr id="6" name="Freeform 6"/>
                <p:cNvSpPr/>
                <p:nvPr/>
              </p:nvSpPr>
              <p:spPr>
                <a:xfrm>
                  <a:off x="867705" y="2267658"/>
                  <a:ext cx="398611" cy="7381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1481" h="984225">
                      <a:moveTo>
                        <a:pt x="0" y="0"/>
                      </a:moveTo>
                      <a:lnTo>
                        <a:pt x="531481" y="0"/>
                      </a:lnTo>
                      <a:lnTo>
                        <a:pt x="531481" y="984224"/>
                      </a:lnTo>
                      <a:lnTo>
                        <a:pt x="0" y="98422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7" name="Freeform 7"/>
                <p:cNvSpPr/>
                <p:nvPr/>
              </p:nvSpPr>
              <p:spPr>
                <a:xfrm>
                  <a:off x="1294437" y="1923911"/>
                  <a:ext cx="963703" cy="11520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84938" h="1536035">
                      <a:moveTo>
                        <a:pt x="0" y="0"/>
                      </a:moveTo>
                      <a:lnTo>
                        <a:pt x="1284937" y="0"/>
                      </a:lnTo>
                      <a:lnTo>
                        <a:pt x="1284937" y="1536035"/>
                      </a:lnTo>
                      <a:lnTo>
                        <a:pt x="0" y="153603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4"/>
                  <a:stretch>
                    <a:fillRect l="-101757"/>
                  </a:stretch>
                </a:blipFill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8" name="Freeform 8"/>
                <p:cNvSpPr/>
                <p:nvPr/>
              </p:nvSpPr>
              <p:spPr>
                <a:xfrm>
                  <a:off x="5925028" y="1989543"/>
                  <a:ext cx="767266" cy="10863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23022" h="1448527">
                      <a:moveTo>
                        <a:pt x="0" y="0"/>
                      </a:moveTo>
                      <a:lnTo>
                        <a:pt x="1023022" y="0"/>
                      </a:lnTo>
                      <a:lnTo>
                        <a:pt x="1023022" y="1448526"/>
                      </a:lnTo>
                      <a:lnTo>
                        <a:pt x="0" y="144852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9" name="Freeform 9"/>
                <p:cNvSpPr/>
                <p:nvPr/>
              </p:nvSpPr>
              <p:spPr>
                <a:xfrm>
                  <a:off x="1915515" y="1923911"/>
                  <a:ext cx="1886776" cy="11179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15701" h="1490553">
                      <a:moveTo>
                        <a:pt x="0" y="0"/>
                      </a:moveTo>
                      <a:lnTo>
                        <a:pt x="2515701" y="0"/>
                      </a:lnTo>
                      <a:lnTo>
                        <a:pt x="2515701" y="1490553"/>
                      </a:lnTo>
                      <a:lnTo>
                        <a:pt x="0" y="149055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0" name="Freeform 10"/>
                <p:cNvSpPr/>
                <p:nvPr/>
              </p:nvSpPr>
              <p:spPr>
                <a:xfrm>
                  <a:off x="2403930" y="1626672"/>
                  <a:ext cx="2731254" cy="165923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41672" h="2212316">
                      <a:moveTo>
                        <a:pt x="0" y="0"/>
                      </a:moveTo>
                      <a:lnTo>
                        <a:pt x="3641672" y="0"/>
                      </a:lnTo>
                      <a:lnTo>
                        <a:pt x="3641672" y="2212316"/>
                      </a:lnTo>
                      <a:lnTo>
                        <a:pt x="0" y="22123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1" name="Freeform 11"/>
                <p:cNvSpPr/>
                <p:nvPr/>
              </p:nvSpPr>
              <p:spPr>
                <a:xfrm>
                  <a:off x="5406607" y="1895487"/>
                  <a:ext cx="518420" cy="942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91227" h="1256776">
                      <a:moveTo>
                        <a:pt x="0" y="0"/>
                      </a:moveTo>
                      <a:lnTo>
                        <a:pt x="691227" y="0"/>
                      </a:lnTo>
                      <a:lnTo>
                        <a:pt x="691227" y="1256775"/>
                      </a:lnTo>
                      <a:lnTo>
                        <a:pt x="0" y="125677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7"/>
                  <a:stretch>
                    <a:fillRect/>
                  </a:stretch>
                </a:blipFill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2" name="Freeform 12"/>
                <p:cNvSpPr/>
                <p:nvPr/>
              </p:nvSpPr>
              <p:spPr>
                <a:xfrm rot="21241385" flipH="1">
                  <a:off x="4601031" y="2461523"/>
                  <a:ext cx="1411851" cy="8065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82468" h="1075360">
                      <a:moveTo>
                        <a:pt x="1882468" y="0"/>
                      </a:moveTo>
                      <a:lnTo>
                        <a:pt x="0" y="0"/>
                      </a:lnTo>
                      <a:lnTo>
                        <a:pt x="0" y="1075360"/>
                      </a:lnTo>
                      <a:lnTo>
                        <a:pt x="1882468" y="1075360"/>
                      </a:lnTo>
                      <a:lnTo>
                        <a:pt x="1882468" y="0"/>
                      </a:lnTo>
                      <a:close/>
                    </a:path>
                  </a:pathLst>
                </a:custGeom>
                <a:blipFill>
                  <a:blip r:embed="rId8"/>
                  <a:stretch>
                    <a:fillRect/>
                  </a:stretch>
                </a:blipFill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sp>
            <p:nvSpPr>
              <p:cNvPr id="14" name="Freeform 14"/>
              <p:cNvSpPr/>
              <p:nvPr/>
            </p:nvSpPr>
            <p:spPr>
              <a:xfrm>
                <a:off x="0" y="2938479"/>
                <a:ext cx="7556500" cy="587395"/>
              </a:xfrm>
              <a:custGeom>
                <a:avLst/>
                <a:gdLst/>
                <a:ahLst/>
                <a:cxnLst/>
                <a:rect l="l" t="t" r="r" b="b"/>
                <a:pathLst>
                  <a:path w="2709333" h="210509">
                    <a:moveTo>
                      <a:pt x="0" y="0"/>
                    </a:moveTo>
                    <a:lnTo>
                      <a:pt x="2709333" y="0"/>
                    </a:lnTo>
                    <a:lnTo>
                      <a:pt x="2709333" y="210509"/>
                    </a:lnTo>
                    <a:lnTo>
                      <a:pt x="0" y="210509"/>
                    </a:lnTo>
                    <a:close/>
                  </a:path>
                </a:pathLst>
              </a:custGeom>
              <a:solidFill>
                <a:srgbClr val="AB3B45"/>
              </a:solid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CDC3D950-01FC-150A-3265-4F9DD8D82286}"/>
                  </a:ext>
                </a:extLst>
              </p:cNvPr>
              <p:cNvSpPr/>
              <p:nvPr/>
            </p:nvSpPr>
            <p:spPr>
              <a:xfrm rot="7023421">
                <a:off x="-69464" y="-39400"/>
                <a:ext cx="1077318" cy="1325929"/>
              </a:xfrm>
              <a:custGeom>
                <a:avLst/>
                <a:gdLst>
                  <a:gd name="connsiteX0" fmla="*/ 0 w 1077318"/>
                  <a:gd name="connsiteY0" fmla="*/ 1325929 h 1325929"/>
                  <a:gd name="connsiteX1" fmla="*/ 0 w 1077318"/>
                  <a:gd name="connsiteY1" fmla="*/ 0 h 1325929"/>
                  <a:gd name="connsiteX2" fmla="*/ 1077318 w 1077318"/>
                  <a:gd name="connsiteY2" fmla="*/ 0 h 1325929"/>
                  <a:gd name="connsiteX3" fmla="*/ 1077318 w 1077318"/>
                  <a:gd name="connsiteY3" fmla="*/ 1325929 h 1325929"/>
                  <a:gd name="connsiteX4" fmla="*/ 844543 w 1077318"/>
                  <a:gd name="connsiteY4" fmla="*/ 1325929 h 1325929"/>
                  <a:gd name="connsiteX5" fmla="*/ 865630 w 1077318"/>
                  <a:gd name="connsiteY5" fmla="*/ 1315158 h 1325929"/>
                  <a:gd name="connsiteX6" fmla="*/ 747203 w 1077318"/>
                  <a:gd name="connsiteY6" fmla="*/ 1083302 h 1325929"/>
                  <a:gd name="connsiteX7" fmla="*/ 343797 w 1077318"/>
                  <a:gd name="connsiteY7" fmla="*/ 1289353 h 1325929"/>
                  <a:gd name="connsiteX8" fmla="*/ 362479 w 1077318"/>
                  <a:gd name="connsiteY8" fmla="*/ 1325929 h 13259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77318" h="1325929">
                    <a:moveTo>
                      <a:pt x="0" y="1325929"/>
                    </a:moveTo>
                    <a:lnTo>
                      <a:pt x="0" y="0"/>
                    </a:lnTo>
                    <a:lnTo>
                      <a:pt x="1077318" y="0"/>
                    </a:lnTo>
                    <a:lnTo>
                      <a:pt x="1077318" y="1325929"/>
                    </a:lnTo>
                    <a:lnTo>
                      <a:pt x="844543" y="1325929"/>
                    </a:lnTo>
                    <a:lnTo>
                      <a:pt x="865630" y="1315158"/>
                    </a:lnTo>
                    <a:lnTo>
                      <a:pt x="747203" y="1083302"/>
                    </a:lnTo>
                    <a:lnTo>
                      <a:pt x="343797" y="1289353"/>
                    </a:lnTo>
                    <a:lnTo>
                      <a:pt x="362479" y="1325929"/>
                    </a:lnTo>
                    <a:close/>
                  </a:path>
                </a:pathLst>
              </a:custGeom>
              <a:blipFill>
                <a:blip r:embed="rId9"/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CAE364F9-FFE5-543B-DFE4-CF6630246B77}"/>
                  </a:ext>
                </a:extLst>
              </p:cNvPr>
              <p:cNvSpPr/>
              <p:nvPr/>
            </p:nvSpPr>
            <p:spPr>
              <a:xfrm rot="-7165624" flipH="1">
                <a:off x="6552144" y="-53013"/>
                <a:ext cx="1077318" cy="1325929"/>
              </a:xfrm>
              <a:custGeom>
                <a:avLst/>
                <a:gdLst>
                  <a:gd name="connsiteX0" fmla="*/ 0 w 1077318"/>
                  <a:gd name="connsiteY0" fmla="*/ 1325929 h 1325929"/>
                  <a:gd name="connsiteX1" fmla="*/ 401887 w 1077318"/>
                  <a:gd name="connsiteY1" fmla="*/ 1325929 h 1325929"/>
                  <a:gd name="connsiteX2" fmla="*/ 380006 w 1077318"/>
                  <a:gd name="connsiteY2" fmla="*/ 1287140 h 1325929"/>
                  <a:gd name="connsiteX3" fmla="*/ 717677 w 1077318"/>
                  <a:gd name="connsiteY3" fmla="*/ 1096662 h 1325929"/>
                  <a:gd name="connsiteX4" fmla="*/ 845590 w 1077318"/>
                  <a:gd name="connsiteY4" fmla="*/ 1323422 h 1325929"/>
                  <a:gd name="connsiteX5" fmla="*/ 841146 w 1077318"/>
                  <a:gd name="connsiteY5" fmla="*/ 1325929 h 1325929"/>
                  <a:gd name="connsiteX6" fmla="*/ 1077318 w 1077318"/>
                  <a:gd name="connsiteY6" fmla="*/ 1325929 h 1325929"/>
                  <a:gd name="connsiteX7" fmla="*/ 1077318 w 1077318"/>
                  <a:gd name="connsiteY7" fmla="*/ 0 h 1325929"/>
                  <a:gd name="connsiteX8" fmla="*/ 0 w 1077318"/>
                  <a:gd name="connsiteY8" fmla="*/ 0 h 1325929"/>
                  <a:gd name="connsiteX9" fmla="*/ 0 w 1077318"/>
                  <a:gd name="connsiteY9" fmla="*/ 951226 h 1325929"/>
                  <a:gd name="connsiteX10" fmla="*/ 101323 w 1077318"/>
                  <a:gd name="connsiteY10" fmla="*/ 1130847 h 1325929"/>
                  <a:gd name="connsiteX11" fmla="*/ 61502 w 1077318"/>
                  <a:gd name="connsiteY11" fmla="*/ 1153309 h 1325929"/>
                  <a:gd name="connsiteX12" fmla="*/ 0 w 1077318"/>
                  <a:gd name="connsiteY12" fmla="*/ 1044280 h 13259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77318" h="1325929">
                    <a:moveTo>
                      <a:pt x="0" y="1325929"/>
                    </a:moveTo>
                    <a:lnTo>
                      <a:pt x="401887" y="1325929"/>
                    </a:lnTo>
                    <a:lnTo>
                      <a:pt x="380006" y="1287140"/>
                    </a:lnTo>
                    <a:lnTo>
                      <a:pt x="717677" y="1096662"/>
                    </a:lnTo>
                    <a:lnTo>
                      <a:pt x="845590" y="1323422"/>
                    </a:lnTo>
                    <a:lnTo>
                      <a:pt x="841146" y="1325929"/>
                    </a:lnTo>
                    <a:lnTo>
                      <a:pt x="1077318" y="1325929"/>
                    </a:lnTo>
                    <a:lnTo>
                      <a:pt x="1077318" y="0"/>
                    </a:lnTo>
                    <a:lnTo>
                      <a:pt x="0" y="0"/>
                    </a:lnTo>
                    <a:lnTo>
                      <a:pt x="0" y="951226"/>
                    </a:lnTo>
                    <a:lnTo>
                      <a:pt x="101323" y="1130847"/>
                    </a:lnTo>
                    <a:lnTo>
                      <a:pt x="61502" y="1153309"/>
                    </a:lnTo>
                    <a:lnTo>
                      <a:pt x="0" y="1044280"/>
                    </a:lnTo>
                    <a:close/>
                  </a:path>
                </a:pathLst>
              </a:custGeom>
              <a:blipFill>
                <a:blip r:embed="rId9"/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43" name="TextBox 43"/>
              <p:cNvSpPr txBox="1"/>
              <p:nvPr/>
            </p:nvSpPr>
            <p:spPr>
              <a:xfrm>
                <a:off x="1560265" y="673717"/>
                <a:ext cx="4439471" cy="923330"/>
              </a:xfrm>
              <a:prstGeom prst="rect">
                <a:avLst/>
              </a:prstGeom>
            </p:spPr>
            <p:txBody>
              <a:bodyPr lIns="0" tIns="0" rIns="0" bIns="0" rtlCol="0" anchor="ctr">
                <a:spAutoFit/>
              </a:bodyPr>
              <a:lstStyle/>
              <a:p>
                <a:pPr algn="ctr"/>
                <a:r>
                  <a:rPr lang="en-US" sz="6000" spc="-120" dirty="0">
                    <a:solidFill>
                      <a:srgbClr val="AA3842"/>
                    </a:solidFill>
                    <a:latin typeface="Gochi Hand"/>
                  </a:rPr>
                  <a:t>Fall Potluck</a:t>
                </a:r>
              </a:p>
            </p:txBody>
          </p:sp>
          <p:sp>
            <p:nvSpPr>
              <p:cNvPr id="44" name="TextBox 44"/>
              <p:cNvSpPr txBox="1"/>
              <p:nvPr/>
            </p:nvSpPr>
            <p:spPr>
              <a:xfrm>
                <a:off x="3182993" y="552790"/>
                <a:ext cx="1194015" cy="20518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1" indent="0" algn="ctr">
                  <a:lnSpc>
                    <a:spcPts val="1584"/>
                  </a:lnSpc>
                  <a:spcBef>
                    <a:spcPct val="0"/>
                  </a:spcBef>
                </a:pPr>
                <a:r>
                  <a:rPr lang="en-US" sz="1200" spc="24" dirty="0">
                    <a:solidFill>
                      <a:srgbClr val="AA3842"/>
                    </a:solidFill>
                    <a:latin typeface="Gochi Hand"/>
                  </a:rPr>
                  <a:t>S</a:t>
                </a:r>
                <a:r>
                  <a:rPr lang="en-US" sz="1200" u="none" strike="noStrike" spc="24" dirty="0">
                    <a:solidFill>
                      <a:srgbClr val="AA3842"/>
                    </a:solidFill>
                    <a:latin typeface="Gochi Hand"/>
                  </a:rPr>
                  <a:t>ign up Sheet </a:t>
                </a:r>
              </a:p>
            </p:txBody>
          </p: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52BDE5FA-7198-3CF0-524D-0BFF2EDDBCB4}"/>
                </a:ext>
              </a:extLst>
            </p:cNvPr>
            <p:cNvGrpSpPr/>
            <p:nvPr/>
          </p:nvGrpSpPr>
          <p:grpSpPr>
            <a:xfrm>
              <a:off x="286655" y="3102418"/>
              <a:ext cx="6986690" cy="7301340"/>
              <a:chOff x="286655" y="3102418"/>
              <a:chExt cx="6986690" cy="7301340"/>
            </a:xfrm>
          </p:grpSpPr>
          <p:sp>
            <p:nvSpPr>
              <p:cNvPr id="17" name="Freeform 17"/>
              <p:cNvSpPr/>
              <p:nvPr/>
            </p:nvSpPr>
            <p:spPr>
              <a:xfrm>
                <a:off x="286655" y="3102418"/>
                <a:ext cx="6986690" cy="7301340"/>
              </a:xfrm>
              <a:prstGeom prst="roundRect">
                <a:avLst>
                  <a:gd name="adj" fmla="val 670"/>
                </a:avLst>
              </a:prstGeom>
              <a:solidFill>
                <a:srgbClr val="FFFCF4"/>
              </a:solid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9" name="AutoShape 19"/>
              <p:cNvSpPr/>
              <p:nvPr/>
            </p:nvSpPr>
            <p:spPr>
              <a:xfrm>
                <a:off x="286655" y="3629603"/>
                <a:ext cx="6986690" cy="0"/>
              </a:xfrm>
              <a:prstGeom prst="line">
                <a:avLst/>
              </a:prstGeom>
              <a:ln w="9525" cap="flat">
                <a:solidFill>
                  <a:srgbClr val="AB3B45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1" name="AutoShape 21"/>
              <p:cNvSpPr/>
              <p:nvPr/>
            </p:nvSpPr>
            <p:spPr>
              <a:xfrm>
                <a:off x="286655" y="4052690"/>
                <a:ext cx="6986690" cy="0"/>
              </a:xfrm>
              <a:prstGeom prst="line">
                <a:avLst/>
              </a:prstGeom>
              <a:ln w="6350" cap="flat">
                <a:solidFill>
                  <a:srgbClr val="AB3B45">
                    <a:alpha val="19608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2" name="AutoShape 22"/>
              <p:cNvSpPr/>
              <p:nvPr/>
            </p:nvSpPr>
            <p:spPr>
              <a:xfrm>
                <a:off x="286655" y="4475777"/>
                <a:ext cx="6986690" cy="0"/>
              </a:xfrm>
              <a:prstGeom prst="line">
                <a:avLst/>
              </a:prstGeom>
              <a:ln w="6350" cap="flat">
                <a:solidFill>
                  <a:srgbClr val="AB3B45">
                    <a:alpha val="19608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3" name="AutoShape 23"/>
              <p:cNvSpPr/>
              <p:nvPr/>
            </p:nvSpPr>
            <p:spPr>
              <a:xfrm>
                <a:off x="286655" y="4898864"/>
                <a:ext cx="6986690" cy="0"/>
              </a:xfrm>
              <a:prstGeom prst="line">
                <a:avLst/>
              </a:prstGeom>
              <a:ln w="6350" cap="flat">
                <a:solidFill>
                  <a:srgbClr val="AB3B45">
                    <a:alpha val="19608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4" name="AutoShape 24"/>
              <p:cNvSpPr/>
              <p:nvPr/>
            </p:nvSpPr>
            <p:spPr>
              <a:xfrm>
                <a:off x="286655" y="5321951"/>
                <a:ext cx="6986690" cy="0"/>
              </a:xfrm>
              <a:prstGeom prst="line">
                <a:avLst/>
              </a:prstGeom>
              <a:ln w="6350" cap="flat">
                <a:solidFill>
                  <a:srgbClr val="AB3B45">
                    <a:alpha val="19608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5" name="AutoShape 25"/>
              <p:cNvSpPr/>
              <p:nvPr/>
            </p:nvSpPr>
            <p:spPr>
              <a:xfrm>
                <a:off x="286655" y="5745038"/>
                <a:ext cx="6986690" cy="0"/>
              </a:xfrm>
              <a:prstGeom prst="line">
                <a:avLst/>
              </a:prstGeom>
              <a:ln w="6350" cap="flat">
                <a:solidFill>
                  <a:srgbClr val="AB3B45">
                    <a:alpha val="19608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6" name="AutoShape 26"/>
              <p:cNvSpPr/>
              <p:nvPr/>
            </p:nvSpPr>
            <p:spPr>
              <a:xfrm>
                <a:off x="286655" y="6168125"/>
                <a:ext cx="6986690" cy="0"/>
              </a:xfrm>
              <a:prstGeom prst="line">
                <a:avLst/>
              </a:prstGeom>
              <a:ln w="6350" cap="flat">
                <a:solidFill>
                  <a:srgbClr val="AB3B45">
                    <a:alpha val="19608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7" name="AutoShape 27"/>
              <p:cNvSpPr/>
              <p:nvPr/>
            </p:nvSpPr>
            <p:spPr>
              <a:xfrm>
                <a:off x="286655" y="6591212"/>
                <a:ext cx="6986690" cy="0"/>
              </a:xfrm>
              <a:prstGeom prst="line">
                <a:avLst/>
              </a:prstGeom>
              <a:ln w="6350" cap="flat">
                <a:solidFill>
                  <a:srgbClr val="AB3B45">
                    <a:alpha val="19608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8" name="AutoShape 28"/>
              <p:cNvSpPr/>
              <p:nvPr/>
            </p:nvSpPr>
            <p:spPr>
              <a:xfrm>
                <a:off x="286655" y="7014299"/>
                <a:ext cx="6986690" cy="0"/>
              </a:xfrm>
              <a:prstGeom prst="line">
                <a:avLst/>
              </a:prstGeom>
              <a:ln w="6350" cap="flat">
                <a:solidFill>
                  <a:srgbClr val="AB3B45">
                    <a:alpha val="19608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9" name="AutoShape 29"/>
              <p:cNvSpPr/>
              <p:nvPr/>
            </p:nvSpPr>
            <p:spPr>
              <a:xfrm>
                <a:off x="286655" y="7437386"/>
                <a:ext cx="6986690" cy="0"/>
              </a:xfrm>
              <a:prstGeom prst="line">
                <a:avLst/>
              </a:prstGeom>
              <a:ln w="6350" cap="flat">
                <a:solidFill>
                  <a:srgbClr val="AB3B45">
                    <a:alpha val="19608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0" name="AutoShape 30"/>
              <p:cNvSpPr/>
              <p:nvPr/>
            </p:nvSpPr>
            <p:spPr>
              <a:xfrm>
                <a:off x="286655" y="7860473"/>
                <a:ext cx="6986690" cy="0"/>
              </a:xfrm>
              <a:prstGeom prst="line">
                <a:avLst/>
              </a:prstGeom>
              <a:ln w="6350" cap="flat">
                <a:solidFill>
                  <a:srgbClr val="AB3B45">
                    <a:alpha val="19608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1" name="AutoShape 31"/>
              <p:cNvSpPr/>
              <p:nvPr/>
            </p:nvSpPr>
            <p:spPr>
              <a:xfrm>
                <a:off x="286655" y="8283560"/>
                <a:ext cx="6986690" cy="0"/>
              </a:xfrm>
              <a:prstGeom prst="line">
                <a:avLst/>
              </a:prstGeom>
              <a:ln w="6350" cap="flat">
                <a:solidFill>
                  <a:srgbClr val="AB3B45">
                    <a:alpha val="19608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2" name="AutoShape 32"/>
              <p:cNvSpPr/>
              <p:nvPr/>
            </p:nvSpPr>
            <p:spPr>
              <a:xfrm>
                <a:off x="286655" y="8706647"/>
                <a:ext cx="6986690" cy="0"/>
              </a:xfrm>
              <a:prstGeom prst="line">
                <a:avLst/>
              </a:prstGeom>
              <a:ln w="6350" cap="flat">
                <a:solidFill>
                  <a:srgbClr val="AB3B45">
                    <a:alpha val="19608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3" name="AutoShape 33"/>
              <p:cNvSpPr/>
              <p:nvPr/>
            </p:nvSpPr>
            <p:spPr>
              <a:xfrm>
                <a:off x="286655" y="9129734"/>
                <a:ext cx="6986690" cy="0"/>
              </a:xfrm>
              <a:prstGeom prst="line">
                <a:avLst/>
              </a:prstGeom>
              <a:ln w="6350" cap="flat">
                <a:solidFill>
                  <a:srgbClr val="AB3B45">
                    <a:alpha val="19608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4" name="AutoShape 34"/>
              <p:cNvSpPr/>
              <p:nvPr/>
            </p:nvSpPr>
            <p:spPr>
              <a:xfrm>
                <a:off x="286655" y="9975908"/>
                <a:ext cx="6986690" cy="0"/>
              </a:xfrm>
              <a:prstGeom prst="line">
                <a:avLst/>
              </a:prstGeom>
              <a:ln w="6350" cap="flat">
                <a:solidFill>
                  <a:srgbClr val="AB3B45">
                    <a:alpha val="19608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5" name="AutoShape 35"/>
              <p:cNvSpPr/>
              <p:nvPr/>
            </p:nvSpPr>
            <p:spPr>
              <a:xfrm>
                <a:off x="286655" y="9552821"/>
                <a:ext cx="6986690" cy="0"/>
              </a:xfrm>
              <a:prstGeom prst="line">
                <a:avLst/>
              </a:prstGeom>
              <a:ln w="6350" cap="flat">
                <a:solidFill>
                  <a:srgbClr val="AB3B45">
                    <a:alpha val="19608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6" name="AutoShape 36"/>
              <p:cNvSpPr/>
              <p:nvPr/>
            </p:nvSpPr>
            <p:spPr>
              <a:xfrm flipH="1">
                <a:off x="2613964" y="3102418"/>
                <a:ext cx="0" cy="7301340"/>
              </a:xfrm>
              <a:prstGeom prst="line">
                <a:avLst/>
              </a:prstGeom>
              <a:ln w="9525" cap="flat">
                <a:solidFill>
                  <a:srgbClr val="AB3B45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7" name="AutoShape 37"/>
              <p:cNvSpPr/>
              <p:nvPr/>
            </p:nvSpPr>
            <p:spPr>
              <a:xfrm>
                <a:off x="4946036" y="3102418"/>
                <a:ext cx="0" cy="7301340"/>
              </a:xfrm>
              <a:prstGeom prst="line">
                <a:avLst/>
              </a:prstGeom>
              <a:ln w="9525" cap="flat">
                <a:solidFill>
                  <a:srgbClr val="AB3B45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0" name="TextBox 40"/>
              <p:cNvSpPr txBox="1"/>
              <p:nvPr/>
            </p:nvSpPr>
            <p:spPr>
              <a:xfrm>
                <a:off x="833490" y="3261647"/>
                <a:ext cx="1233639" cy="20872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1" indent="0" algn="ctr">
                  <a:lnSpc>
                    <a:spcPts val="1715"/>
                  </a:lnSpc>
                  <a:spcBef>
                    <a:spcPct val="0"/>
                  </a:spcBef>
                </a:pPr>
                <a:r>
                  <a:rPr lang="en-US" sz="1299" spc="25" dirty="0">
                    <a:solidFill>
                      <a:srgbClr val="AB3B45"/>
                    </a:solidFill>
                    <a:latin typeface="Gochi Hand"/>
                  </a:rPr>
                  <a:t>Full name</a:t>
                </a:r>
              </a:p>
            </p:txBody>
          </p:sp>
          <p:sp>
            <p:nvSpPr>
              <p:cNvPr id="41" name="TextBox 41"/>
              <p:cNvSpPr txBox="1"/>
              <p:nvPr/>
            </p:nvSpPr>
            <p:spPr>
              <a:xfrm>
                <a:off x="3163181" y="3261647"/>
                <a:ext cx="1233639" cy="20872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1" indent="0" algn="ctr">
                  <a:lnSpc>
                    <a:spcPts val="1715"/>
                  </a:lnSpc>
                  <a:spcBef>
                    <a:spcPct val="0"/>
                  </a:spcBef>
                </a:pPr>
                <a:r>
                  <a:rPr lang="en-US" sz="1299" u="none" strike="noStrike" spc="25" dirty="0">
                    <a:solidFill>
                      <a:srgbClr val="AB3B45"/>
                    </a:solidFill>
                    <a:latin typeface="Gochi Hand"/>
                  </a:rPr>
                  <a:t>Phone number</a:t>
                </a:r>
              </a:p>
            </p:txBody>
          </p:sp>
          <p:sp>
            <p:nvSpPr>
              <p:cNvPr id="42" name="TextBox 42"/>
              <p:cNvSpPr txBox="1"/>
              <p:nvPr/>
            </p:nvSpPr>
            <p:spPr>
              <a:xfrm>
                <a:off x="5077166" y="3261647"/>
                <a:ext cx="2065049" cy="218008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1" indent="0" algn="ctr">
                  <a:lnSpc>
                    <a:spcPts val="1715"/>
                  </a:lnSpc>
                  <a:spcBef>
                    <a:spcPct val="0"/>
                  </a:spcBef>
                </a:pPr>
                <a:r>
                  <a:rPr lang="en-US" sz="1299" spc="25" dirty="0">
                    <a:solidFill>
                      <a:srgbClr val="AB3B45"/>
                    </a:solidFill>
                    <a:latin typeface="Gochi Hand"/>
                  </a:rPr>
                  <a:t>I</a:t>
                </a:r>
                <a:r>
                  <a:rPr lang="en-US" sz="1299" u="none" strike="noStrike" spc="25" dirty="0">
                    <a:solidFill>
                      <a:srgbClr val="AB3B45"/>
                    </a:solidFill>
                    <a:latin typeface="Gochi Hand"/>
                  </a:rPr>
                  <a:t>tem/Dish</a:t>
                </a:r>
              </a:p>
            </p:txBody>
          </p:sp>
        </p:grpSp>
        <p:sp>
          <p:nvSpPr>
            <p:cNvPr id="45" name="QuickSignup"/>
            <p:cNvSpPr/>
            <p:nvPr/>
          </p:nvSpPr>
          <p:spPr>
            <a:xfrm rot="5400000">
              <a:off x="6826959" y="2482171"/>
              <a:ext cx="660903" cy="133213"/>
            </a:xfrm>
            <a:custGeom>
              <a:avLst/>
              <a:gdLst/>
              <a:ahLst/>
              <a:cxnLst/>
              <a:rect l="l" t="t" r="r" b="b"/>
              <a:pathLst>
                <a:path w="660903" h="133213">
                  <a:moveTo>
                    <a:pt x="0" y="0"/>
                  </a:moveTo>
                  <a:lnTo>
                    <a:pt x="660903" y="0"/>
                  </a:lnTo>
                  <a:lnTo>
                    <a:pt x="660903" y="133213"/>
                  </a:lnTo>
                  <a:lnTo>
                    <a:pt x="0" y="13321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0">
                <a:alphaModFix amt="94000"/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a:blipFill>
            <a:ln cap="sq">
              <a:noFill/>
              <a:prstDash val="solid"/>
              <a:miter/>
            </a:ln>
          </p:spPr>
          <p:txBody>
            <a:bodyPr/>
            <a:lstStyle/>
            <a:p>
              <a:endParaRPr lang="en-US" dirty="0"/>
            </a:p>
          </p:txBody>
        </p:sp>
      </p:grpSp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9</TotalTime>
  <Words>12</Words>
  <Application>Microsoft Office PowerPoint</Application>
  <PresentationFormat>Custom</PresentationFormat>
  <Paragraphs>5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Gochi Hand</vt:lpstr>
      <vt:lpstr>Calibri</vt:lpstr>
      <vt:lpstr>Arial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 (Portrait)</dc:title>
  <dc:creator>Hoang Anh</dc:creator>
  <cp:lastModifiedBy>Anh Hoang</cp:lastModifiedBy>
  <cp:revision>44</cp:revision>
  <dcterms:created xsi:type="dcterms:W3CDTF">2006-08-16T00:00:00Z</dcterms:created>
  <dcterms:modified xsi:type="dcterms:W3CDTF">2024-06-21T10:30:56Z</dcterms:modified>
  <dc:identifier>DAGIuti-Arg</dc:identifier>
</cp:coreProperties>
</file>